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4"/>
  </p:sldMasterIdLst>
  <p:notesMasterIdLst>
    <p:notesMasterId r:id="rId17"/>
  </p:notesMasterIdLst>
  <p:sldIdLst>
    <p:sldId id="256" r:id="rId5"/>
    <p:sldId id="257" r:id="rId6"/>
    <p:sldId id="282" r:id="rId7"/>
    <p:sldId id="275" r:id="rId8"/>
    <p:sldId id="263" r:id="rId9"/>
    <p:sldId id="260" r:id="rId10"/>
    <p:sldId id="264" r:id="rId11"/>
    <p:sldId id="265" r:id="rId12"/>
    <p:sldId id="266" r:id="rId13"/>
    <p:sldId id="267" r:id="rId14"/>
    <p:sldId id="268" r:id="rId15"/>
    <p:sldId id="277" r:id="rId16"/>
  </p:sldIdLst>
  <p:sldSz cx="9144000" cy="5715000" type="screen16x10"/>
  <p:notesSz cx="6858000" cy="9144000"/>
  <p:embeddedFontLst>
    <p:embeddedFont>
      <p:font typeface="Antic Slab" panose="020B0604020202020204" charset="0"/>
      <p:regular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PT Sans" panose="020B0604020202020204" charset="0"/>
      <p:regular r:id="rId23"/>
      <p:bold r:id="rId24"/>
      <p:italic r:id="rId25"/>
      <p:boldItalic r:id="rId26"/>
    </p:embeddedFont>
  </p:embeddedFontLst>
  <p:custDataLst>
    <p:tags r:id="rId27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ssie Mattsson" initials="SM" lastIdx="1" clrIdx="0">
    <p:extLst>
      <p:ext uri="{19B8F6BF-5375-455C-9EA6-DF929625EA0E}">
        <p15:presenceInfo xmlns:p15="http://schemas.microsoft.com/office/powerpoint/2012/main" userId="S::SMA@cylindric-dk.com::e89dd311-d029-435c-8d1e-f4d68a3e05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868"/>
    <a:srgbClr val="6364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5226" autoAdjust="0"/>
  </p:normalViewPr>
  <p:slideViewPr>
    <p:cSldViewPr>
      <p:cViewPr varScale="1">
        <p:scale>
          <a:sx n="98" d="100"/>
          <a:sy n="98" d="100"/>
        </p:scale>
        <p:origin x="1018" y="67"/>
      </p:cViewPr>
      <p:guideLst>
        <p:guide orient="horz" pos="1800"/>
        <p:guide pos="2880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font" Target="fonts/font1.fntdata"/><Relationship Id="rId26" Type="http://schemas.openxmlformats.org/officeDocument/2006/relationships/font" Target="fonts/font9.fntdata"/><Relationship Id="rId3" Type="http://schemas.openxmlformats.org/officeDocument/2006/relationships/customXml" Target="../customXml/item3.xml"/><Relationship Id="rId21" Type="http://schemas.openxmlformats.org/officeDocument/2006/relationships/font" Target="fonts/font4.fntdata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5" Type="http://schemas.openxmlformats.org/officeDocument/2006/relationships/font" Target="fonts/font8.fntdata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font" Target="fonts/font3.fntdata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font" Target="fonts/font7.fntdata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font" Target="fonts/font6.fntdata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font" Target="fonts/font2.fntdata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font" Target="fonts/font5.fntdata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a-DK"/>
              <a:t>Medlemmer pr. 31/12 siden 200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7079412582482833E-2"/>
          <c:y val="0.10205078414954959"/>
          <c:w val="0.95572290762162737"/>
          <c:h val="0.70888398699466193"/>
        </c:manualLayout>
      </c:layout>
      <c:lineChart>
        <c:grouping val="standard"/>
        <c:varyColors val="0"/>
        <c:ser>
          <c:idx val="0"/>
          <c:order val="0"/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Medlemsstatestik!$I$3:$Z$3</c:f>
              <c:numCache>
                <c:formatCode>General</c:formatCode>
                <c:ptCount val="18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  <c:pt idx="17">
                  <c:v>2021</c:v>
                </c:pt>
              </c:numCache>
            </c:numRef>
          </c:cat>
          <c:val>
            <c:numRef>
              <c:f>Medlemsstatestik!$I$4:$Z$4</c:f>
              <c:numCache>
                <c:formatCode>General</c:formatCode>
                <c:ptCount val="18"/>
                <c:pt idx="0">
                  <c:v>821</c:v>
                </c:pt>
                <c:pt idx="1">
                  <c:v>805</c:v>
                </c:pt>
                <c:pt idx="2">
                  <c:v>822</c:v>
                </c:pt>
                <c:pt idx="3">
                  <c:v>871</c:v>
                </c:pt>
                <c:pt idx="4">
                  <c:v>849</c:v>
                </c:pt>
                <c:pt idx="5">
                  <c:v>869</c:v>
                </c:pt>
                <c:pt idx="6">
                  <c:v>871</c:v>
                </c:pt>
                <c:pt idx="7">
                  <c:v>826</c:v>
                </c:pt>
                <c:pt idx="8">
                  <c:v>803</c:v>
                </c:pt>
                <c:pt idx="9">
                  <c:v>749</c:v>
                </c:pt>
                <c:pt idx="10">
                  <c:v>783</c:v>
                </c:pt>
                <c:pt idx="11">
                  <c:v>818</c:v>
                </c:pt>
                <c:pt idx="12">
                  <c:v>829</c:v>
                </c:pt>
                <c:pt idx="13">
                  <c:v>899</c:v>
                </c:pt>
                <c:pt idx="14">
                  <c:v>891</c:v>
                </c:pt>
                <c:pt idx="15">
                  <c:v>815</c:v>
                </c:pt>
                <c:pt idx="16">
                  <c:v>913</c:v>
                </c:pt>
                <c:pt idx="17">
                  <c:v>9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A71-4738-9164-D404756C430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94964912"/>
        <c:axId val="494954088"/>
      </c:lineChart>
      <c:catAx>
        <c:axId val="49496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4954088"/>
        <c:crosses val="autoZero"/>
        <c:auto val="1"/>
        <c:lblAlgn val="ctr"/>
        <c:lblOffset val="100"/>
        <c:noMultiLvlLbl val="0"/>
      </c:catAx>
      <c:valAx>
        <c:axId val="494954088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94964912"/>
        <c:crossesAt val="700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>
      <cs:styleClr val="auto"/>
    </cs:fillRef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17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CA82A-3947-4D55-A2FA-67AD2C0238F4}" type="datetimeFigureOut">
              <a:rPr lang="en-US" smtClean="0"/>
              <a:t>6/1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FE1968-3979-4A8D-873E-6F3F93569C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489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Stigning på 25 % i </a:t>
            </a:r>
            <a:r>
              <a:rPr lang="da-DK" dirty="0" err="1"/>
              <a:t>nordjylland</a:t>
            </a:r>
            <a:r>
              <a:rPr lang="da-DK" dirty="0"/>
              <a:t> og knap 35 % i </a:t>
            </a:r>
            <a:r>
              <a:rPr lang="da-DK" dirty="0" err="1"/>
              <a:t>sønderjylland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FE1968-3979-4A8D-873E-6F3F93569C8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109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FE1968-3979-4A8D-873E-6F3F93569C8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439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FE1968-3979-4A8D-873E-6F3F93569C8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4139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FE1968-3979-4A8D-873E-6F3F93569C8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178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34"/>
          <a:stretch/>
        </p:blipFill>
        <p:spPr>
          <a:xfrm>
            <a:off x="-1" y="-1"/>
            <a:ext cx="9144997" cy="55530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1840" y="3577580"/>
            <a:ext cx="5544616" cy="540000"/>
          </a:xfrm>
          <a:solidFill>
            <a:srgbClr val="9FB868"/>
          </a:solidFill>
        </p:spPr>
        <p:txBody>
          <a:bodyPr>
            <a:normAutofit/>
          </a:bodyPr>
          <a:lstStyle>
            <a:lvl1pPr algn="r"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497" y="4225652"/>
            <a:ext cx="4103959" cy="540000"/>
          </a:xfrm>
          <a:solidFill>
            <a:srgbClr val="636466"/>
          </a:solidFill>
        </p:spPr>
        <p:txBody>
          <a:bodyPr anchor="ctr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ntic Slab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5402373"/>
            <a:ext cx="9144000" cy="312627"/>
          </a:xfrm>
          <a:prstGeom prst="rect">
            <a:avLst/>
          </a:prstGeom>
          <a:solidFill>
            <a:srgbClr val="9FB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Rectangle 7"/>
          <p:cNvSpPr/>
          <p:nvPr userDrawn="1"/>
        </p:nvSpPr>
        <p:spPr>
          <a:xfrm>
            <a:off x="6732240" y="5089748"/>
            <a:ext cx="1944216" cy="625252"/>
          </a:xfrm>
          <a:prstGeom prst="rect">
            <a:avLst/>
          </a:prstGeom>
          <a:solidFill>
            <a:srgbClr val="6364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5168292"/>
            <a:ext cx="469101" cy="46816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7308304" y="5202319"/>
            <a:ext cx="1296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dirty="0">
                <a:solidFill>
                  <a:schemeClr val="bg1"/>
                </a:solidFill>
                <a:latin typeface="Antic Slab" pitchFamily="2" charset="0"/>
              </a:rPr>
              <a:t>DANSK MÜNSTER-LÄNDER KLUB</a:t>
            </a:r>
          </a:p>
        </p:txBody>
      </p:sp>
    </p:spTree>
    <p:extLst>
      <p:ext uri="{BB962C8B-B14F-4D97-AF65-F5344CB8AC3E}">
        <p14:creationId xmlns:p14="http://schemas.microsoft.com/office/powerpoint/2010/main" val="39754173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3685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90500"/>
            <a:ext cx="2057400" cy="4064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90500"/>
            <a:ext cx="6019800" cy="4064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8088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41016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54247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3365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50804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65456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860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81519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2-06-2021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1867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38365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0" y="5402373"/>
            <a:ext cx="9144000" cy="312627"/>
          </a:xfrm>
          <a:prstGeom prst="rect">
            <a:avLst/>
          </a:prstGeom>
          <a:solidFill>
            <a:srgbClr val="9FB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Rectangle 6"/>
          <p:cNvSpPr/>
          <p:nvPr/>
        </p:nvSpPr>
        <p:spPr>
          <a:xfrm>
            <a:off x="6732240" y="5089748"/>
            <a:ext cx="1944216" cy="625252"/>
          </a:xfrm>
          <a:prstGeom prst="rect">
            <a:avLst/>
          </a:prstGeom>
          <a:solidFill>
            <a:srgbClr val="6364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5168292"/>
            <a:ext cx="469101" cy="46816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308304" y="5202319"/>
            <a:ext cx="1296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dirty="0">
                <a:solidFill>
                  <a:schemeClr val="bg1"/>
                </a:solidFill>
                <a:latin typeface="Antic Slab" pitchFamily="2" charset="0"/>
              </a:rPr>
              <a:t>DANSK MÜNSTER-LÄNDER KLUB</a:t>
            </a:r>
          </a:p>
        </p:txBody>
      </p:sp>
    </p:spTree>
    <p:extLst>
      <p:ext uri="{BB962C8B-B14F-4D97-AF65-F5344CB8AC3E}">
        <p14:creationId xmlns:p14="http://schemas.microsoft.com/office/powerpoint/2010/main" val="769600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ntic Slab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PT Sans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PT Sans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PT Sans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PT Sans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PT 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1.emf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2.emf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emf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Generalforsamling 2021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Regnskab</a:t>
            </a:r>
            <a:r>
              <a:rPr lang="en-US" dirty="0"/>
              <a:t> </a:t>
            </a:r>
            <a:r>
              <a:rPr lang="en-US" dirty="0" err="1"/>
              <a:t>fremlæggel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465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036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– Aktiver</a:t>
            </a:r>
            <a:endParaRPr lang="en-US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9FFDF8F2-D500-46E2-B193-AE373464104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59632" y="1129308"/>
            <a:ext cx="5143500" cy="3032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744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096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–Passiver</a:t>
            </a:r>
            <a:endParaRPr lang="en-US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3B6C7F35-C3F8-4C8E-8A0C-F84A9008D57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31640" y="1273324"/>
            <a:ext cx="5143500" cy="2636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1820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84D20E84-73D5-4BDE-8C5D-908D4606F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057300"/>
            <a:ext cx="6340371" cy="415636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0A93CD0-ED75-4D38-9566-B4FB0180C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8864"/>
            <a:ext cx="8229600" cy="1044459"/>
          </a:xfrm>
        </p:spPr>
        <p:txBody>
          <a:bodyPr>
            <a:normAutofit/>
          </a:bodyPr>
          <a:lstStyle/>
          <a:p>
            <a:pPr algn="ctr"/>
            <a:r>
              <a:rPr lang="da-DK" dirty="0"/>
              <a:t>Omkostningsfordeling 2020</a:t>
            </a:r>
          </a:p>
        </p:txBody>
      </p:sp>
    </p:spTree>
    <p:extLst>
      <p:ext uri="{BB962C8B-B14F-4D97-AF65-F5344CB8AC3E}">
        <p14:creationId xmlns:p14="http://schemas.microsoft.com/office/powerpoint/2010/main" val="6372865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973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3204"/>
            <a:ext cx="8229600" cy="952500"/>
          </a:xfrm>
        </p:spPr>
        <p:txBody>
          <a:bodyPr>
            <a:normAutofit fontScale="90000"/>
          </a:bodyPr>
          <a:lstStyle/>
          <a:p>
            <a:r>
              <a:rPr lang="da-DK" dirty="0"/>
              <a:t>Medlemsfordeling pr 1/6-2021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336566" y="3112568"/>
            <a:ext cx="4330824" cy="14948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Medlemmer i alt 977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13 udenlandske medle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113 gratis medlemmer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AA4BD4B2-6D36-474F-BFA4-D6CDEE05ABE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8188" t="26200" r="38975" b="26200"/>
          <a:stretch/>
        </p:blipFill>
        <p:spPr>
          <a:xfrm>
            <a:off x="539551" y="1057300"/>
            <a:ext cx="3623697" cy="4248472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9FCDCBA8-2CD3-4753-A04C-2986FA92097F}"/>
              </a:ext>
            </a:extLst>
          </p:cNvPr>
          <p:cNvSpPr txBox="1"/>
          <p:nvPr/>
        </p:nvSpPr>
        <p:spPr>
          <a:xfrm>
            <a:off x="1115616" y="3112568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624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65A852E8-74D2-4A58-B0CE-AD2F7717B222}"/>
              </a:ext>
            </a:extLst>
          </p:cNvPr>
          <p:cNvSpPr txBox="1"/>
          <p:nvPr/>
        </p:nvSpPr>
        <p:spPr>
          <a:xfrm>
            <a:off x="2020888" y="4087839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95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D240B2F2-3EA6-4D7E-96F9-C31433573D79}"/>
              </a:ext>
            </a:extLst>
          </p:cNvPr>
          <p:cNvSpPr txBox="1"/>
          <p:nvPr/>
        </p:nvSpPr>
        <p:spPr>
          <a:xfrm>
            <a:off x="3070175" y="3752942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234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A4C7CB97-4627-460C-87C3-DBC28608894A}"/>
              </a:ext>
            </a:extLst>
          </p:cNvPr>
          <p:cNvSpPr txBox="1"/>
          <p:nvPr/>
        </p:nvSpPr>
        <p:spPr>
          <a:xfrm>
            <a:off x="3326952" y="1592726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159905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257DF-8FBD-4F94-A8ED-B76115839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dirty="0"/>
              <a:t>Områdefordelt 1/6-2021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A6742009-08F6-46CF-918A-ED037D59D0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7704" y="913284"/>
            <a:ext cx="4684604" cy="4320480"/>
          </a:xfrm>
          <a:prstGeom prst="rect">
            <a:avLst/>
          </a:prstGeom>
        </p:spPr>
      </p:pic>
      <p:sp>
        <p:nvSpPr>
          <p:cNvPr id="3" name="Tekstfelt 2">
            <a:extLst>
              <a:ext uri="{FF2B5EF4-FFF2-40B4-BE49-F238E27FC236}">
                <a16:creationId xmlns:a16="http://schemas.microsoft.com/office/drawing/2014/main" id="{F12C9063-38D1-4B7B-B2F1-10546671174C}"/>
              </a:ext>
            </a:extLst>
          </p:cNvPr>
          <p:cNvSpPr txBox="1"/>
          <p:nvPr/>
        </p:nvSpPr>
        <p:spPr>
          <a:xfrm>
            <a:off x="4572000" y="148934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2E460CE1-04D2-4207-80BF-5989F0A0E636}"/>
              </a:ext>
            </a:extLst>
          </p:cNvPr>
          <p:cNvSpPr/>
          <p:nvPr/>
        </p:nvSpPr>
        <p:spPr>
          <a:xfrm>
            <a:off x="1691680" y="3793604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48 medlemmer</a:t>
            </a: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33A358A0-79D0-4961-8563-4553D1CE025E}"/>
              </a:ext>
            </a:extLst>
          </p:cNvPr>
          <p:cNvSpPr/>
          <p:nvPr/>
        </p:nvSpPr>
        <p:spPr>
          <a:xfrm>
            <a:off x="3414700" y="1109357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61 medlemmer</a:t>
            </a: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EA03EC1-DAD2-45C3-89A9-16B45F129BB0}"/>
              </a:ext>
            </a:extLst>
          </p:cNvPr>
          <p:cNvSpPr/>
          <p:nvPr/>
        </p:nvSpPr>
        <p:spPr>
          <a:xfrm>
            <a:off x="3103575" y="3967336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95 medlemmer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54F81749-FCED-4419-98B1-7AF69E56EBF7}"/>
              </a:ext>
            </a:extLst>
          </p:cNvPr>
          <p:cNvSpPr/>
          <p:nvPr/>
        </p:nvSpPr>
        <p:spPr>
          <a:xfrm>
            <a:off x="2172088" y="3001516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69 medlemmer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FADF7DD3-250B-44AA-832F-3C5353934753}"/>
              </a:ext>
            </a:extLst>
          </p:cNvPr>
          <p:cNvSpPr/>
          <p:nvPr/>
        </p:nvSpPr>
        <p:spPr>
          <a:xfrm>
            <a:off x="2946648" y="1807096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60 medlemmer</a:t>
            </a: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0920973C-F22C-4C84-98C2-2060F153234E}"/>
              </a:ext>
            </a:extLst>
          </p:cNvPr>
          <p:cNvSpPr/>
          <p:nvPr/>
        </p:nvSpPr>
        <p:spPr>
          <a:xfrm>
            <a:off x="1704036" y="2425452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29 medlemmer</a:t>
            </a: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1B458325-CC6E-404B-9F32-78D5DB52E2AE}"/>
              </a:ext>
            </a:extLst>
          </p:cNvPr>
          <p:cNvSpPr/>
          <p:nvPr/>
        </p:nvSpPr>
        <p:spPr>
          <a:xfrm>
            <a:off x="4968810" y="3505572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66 medlemmer</a:t>
            </a: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BC16112-1E43-4003-B21A-AC872C8E5E6C}"/>
              </a:ext>
            </a:extLst>
          </p:cNvPr>
          <p:cNvSpPr/>
          <p:nvPr/>
        </p:nvSpPr>
        <p:spPr>
          <a:xfrm>
            <a:off x="5940152" y="4225652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11 medlemmer</a:t>
            </a:r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5DA18BD7-BEC9-4489-B30E-E70EB3B1E69B}"/>
              </a:ext>
            </a:extLst>
          </p:cNvPr>
          <p:cNvSpPr/>
          <p:nvPr/>
        </p:nvSpPr>
        <p:spPr>
          <a:xfrm>
            <a:off x="4531772" y="4801716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23 medlemmer</a:t>
            </a:r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C57752E9-CFC4-49B3-BAE3-204B58223714}"/>
              </a:ext>
            </a:extLst>
          </p:cNvPr>
          <p:cNvSpPr/>
          <p:nvPr/>
        </p:nvSpPr>
        <p:spPr>
          <a:xfrm>
            <a:off x="4039679" y="3819975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90 medlemmer</a:t>
            </a: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5E151B3D-0C27-44C3-94A2-C704652C8E54}"/>
              </a:ext>
            </a:extLst>
          </p:cNvPr>
          <p:cNvSpPr/>
          <p:nvPr/>
        </p:nvSpPr>
        <p:spPr>
          <a:xfrm>
            <a:off x="4968810" y="3063548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55 medlemmer</a:t>
            </a: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C7AA376F-2CB2-4956-AA64-11CE1EEFED9D}"/>
              </a:ext>
            </a:extLst>
          </p:cNvPr>
          <p:cNvSpPr/>
          <p:nvPr/>
        </p:nvSpPr>
        <p:spPr>
          <a:xfrm>
            <a:off x="3260765" y="2982250"/>
            <a:ext cx="961886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139 medlemmer</a:t>
            </a:r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2549AD59-FDFE-4CD3-83C2-5734B9BA5279}"/>
              </a:ext>
            </a:extLst>
          </p:cNvPr>
          <p:cNvSpPr/>
          <p:nvPr/>
        </p:nvSpPr>
        <p:spPr>
          <a:xfrm>
            <a:off x="2010544" y="1442552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53 medlemmer</a:t>
            </a:r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E23B6BA8-9BF9-47E6-85EF-52DAF2307328}"/>
              </a:ext>
            </a:extLst>
          </p:cNvPr>
          <p:cNvSpPr/>
          <p:nvPr/>
        </p:nvSpPr>
        <p:spPr>
          <a:xfrm>
            <a:off x="2463377" y="4600550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79 medlemmer</a:t>
            </a: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ED4F69AC-8DEE-4933-8633-A4D62FCC5D97}"/>
              </a:ext>
            </a:extLst>
          </p:cNvPr>
          <p:cNvSpPr/>
          <p:nvPr/>
        </p:nvSpPr>
        <p:spPr>
          <a:xfrm>
            <a:off x="3792268" y="2617803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55 medlemmer</a:t>
            </a: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EDBFFA6C-F80C-49EB-8BBB-DFCEF5CE4048}"/>
              </a:ext>
            </a:extLst>
          </p:cNvPr>
          <p:cNvSpPr/>
          <p:nvPr/>
        </p:nvSpPr>
        <p:spPr>
          <a:xfrm>
            <a:off x="2856164" y="2345691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31 medlemmer</a:t>
            </a:r>
          </a:p>
        </p:txBody>
      </p:sp>
    </p:spTree>
    <p:extLst>
      <p:ext uri="{BB962C8B-B14F-4D97-AF65-F5344CB8AC3E}">
        <p14:creationId xmlns:p14="http://schemas.microsoft.com/office/powerpoint/2010/main" val="6508251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540C67B8-DD46-45B7-892D-DBD31ABE89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7548979"/>
              </p:ext>
            </p:extLst>
          </p:nvPr>
        </p:nvGraphicFramePr>
        <p:xfrm>
          <a:off x="315428" y="1106724"/>
          <a:ext cx="8329612" cy="3911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3204"/>
            <a:ext cx="8229600" cy="952500"/>
          </a:xfrm>
        </p:spPr>
        <p:txBody>
          <a:bodyPr/>
          <a:lstStyle/>
          <a:p>
            <a:r>
              <a:rPr lang="da-DK" dirty="0"/>
              <a:t>Medlemsudvikling sidste 17 år</a:t>
            </a:r>
            <a:endParaRPr lang="en-US" dirty="0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38E12E7C-205D-4FC8-AEEB-2A73B1844CF4}"/>
              </a:ext>
            </a:extLst>
          </p:cNvPr>
          <p:cNvSpPr/>
          <p:nvPr/>
        </p:nvSpPr>
        <p:spPr>
          <a:xfrm>
            <a:off x="7991907" y="2497460"/>
            <a:ext cx="1008112" cy="4320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/>
              <a:t>Pr 1/6-21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23AFE1B5-8F6D-413B-B400-EAD6F6850A5B}"/>
              </a:ext>
            </a:extLst>
          </p:cNvPr>
          <p:cNvCxnSpPr>
            <a:cxnSpLocks/>
          </p:cNvCxnSpPr>
          <p:nvPr/>
        </p:nvCxnSpPr>
        <p:spPr>
          <a:xfrm flipH="1" flipV="1">
            <a:off x="8346886" y="2057227"/>
            <a:ext cx="298154" cy="317957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2878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283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- Indtægter</a:t>
            </a:r>
            <a:endParaRPr lang="en-US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1D023C58-4567-40AD-9665-14B89F12A4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3568" y="824550"/>
            <a:ext cx="5837046" cy="4481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951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850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792"/>
            <a:ext cx="8229600" cy="952500"/>
          </a:xfrm>
        </p:spPr>
        <p:txBody>
          <a:bodyPr/>
          <a:lstStyle/>
          <a:p>
            <a:r>
              <a:rPr lang="da-DK" dirty="0"/>
              <a:t>Regnskab - Udgifter</a:t>
            </a:r>
            <a:endParaRPr lang="en-US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6EDCE50E-F367-49BE-9BF7-F32B4D25A8F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1560" y="769268"/>
            <a:ext cx="5942042" cy="4555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00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967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- Udgifter</a:t>
            </a:r>
            <a:endParaRPr lang="en-US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6D3BD7ED-E145-436D-86E0-CDC04E01E1F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5576" y="697260"/>
            <a:ext cx="5870034" cy="462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6209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885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471"/>
            <a:ext cx="8229600" cy="952500"/>
          </a:xfrm>
        </p:spPr>
        <p:txBody>
          <a:bodyPr/>
          <a:lstStyle/>
          <a:p>
            <a:r>
              <a:rPr lang="da-DK" dirty="0"/>
              <a:t>Regnskab - Udgifter</a:t>
            </a:r>
            <a:endParaRPr lang="en-US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C5F35B5E-763E-4FB4-AB74-1A8EC066DB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1560" y="697260"/>
            <a:ext cx="6014050" cy="4643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8563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244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- Resultat</a:t>
            </a:r>
            <a:endParaRPr lang="en-US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7F03434D-8C92-4F4A-B624-E259F68DFC7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28494" y="841276"/>
            <a:ext cx="6987540" cy="17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691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4&quot; g=&quot;a6&quot; b=&quot;18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MK_Powerpoint_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ATUS FRA PR-UDVALGET.pptx" id="{6E83B456-17E7-46B3-83AD-A5BF1679FCAD}" vid="{348424A8-B404-4B2D-BF08-525A32B1B9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CCE49C1A707634DA7A6EB95FD39B195" ma:contentTypeVersion="11" ma:contentTypeDescription="Crear nuevo documento." ma:contentTypeScope="" ma:versionID="27642db0c376545e3ef4784e71fb8d16">
  <xsd:schema xmlns:xsd="http://www.w3.org/2001/XMLSchema" xmlns:xs="http://www.w3.org/2001/XMLSchema" xmlns:p="http://schemas.microsoft.com/office/2006/metadata/properties" xmlns:ns3="86e0f9fe-eca6-4db8-bd24-f5c60cea5574" xmlns:ns4="20ac85f9-2d74-4a41-bbc2-759b72972aec" targetNamespace="http://schemas.microsoft.com/office/2006/metadata/properties" ma:root="true" ma:fieldsID="bda9429bcc5ab5adf63ffb53e1557676" ns3:_="" ns4:_="">
    <xsd:import namespace="86e0f9fe-eca6-4db8-bd24-f5c60cea5574"/>
    <xsd:import namespace="20ac85f9-2d74-4a41-bbc2-759b72972aec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6e0f9fe-eca6-4db8-bd24-f5c60cea5574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Hash de la sugerencia para compartir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0ac85f9-2d74-4a41-bbc2-759b72972ae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0CF32AF7-1157-4E71-A8B9-7C5EE5F34B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6e0f9fe-eca6-4db8-bd24-f5c60cea5574"/>
    <ds:schemaRef ds:uri="20ac85f9-2d74-4a41-bbc2-759b72972ae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10B6C66-6F5E-4772-9063-0AF65CD6BBE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455F7BD-9F71-472C-953A-4BC93D418A08}">
  <ds:schemaRefs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20ac85f9-2d74-4a41-bbc2-759b72972aec"/>
    <ds:schemaRef ds:uri="http://purl.org/dc/elements/1.1/"/>
    <ds:schemaRef ds:uri="86e0f9fe-eca6-4db8-bd24-f5c60cea557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MK_Powerpoint_Master</Template>
  <TotalTime>0</TotalTime>
  <Words>106</Words>
  <Application>Microsoft Office PowerPoint</Application>
  <PresentationFormat>On-screen Show (16:10)</PresentationFormat>
  <Paragraphs>43</Paragraphs>
  <Slides>12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8" baseType="lpstr">
      <vt:lpstr>Calibri</vt:lpstr>
      <vt:lpstr>Arial</vt:lpstr>
      <vt:lpstr>Antic Slab</vt:lpstr>
      <vt:lpstr>PT Sans</vt:lpstr>
      <vt:lpstr>DMK_Powerpoint_Master</vt:lpstr>
      <vt:lpstr>think-cell Slide</vt:lpstr>
      <vt:lpstr>Generalforsamling 2021</vt:lpstr>
      <vt:lpstr>Medlemsfordeling pr 1/6-2021</vt:lpstr>
      <vt:lpstr>Områdefordelt 1/6-2021</vt:lpstr>
      <vt:lpstr>Medlemsudvikling sidste 17 år</vt:lpstr>
      <vt:lpstr>Regnskab - Indtægter</vt:lpstr>
      <vt:lpstr>Regnskab - Udgifter</vt:lpstr>
      <vt:lpstr>Regnskab - Udgifter</vt:lpstr>
      <vt:lpstr>Regnskab - Udgifter</vt:lpstr>
      <vt:lpstr>Regnskab - Resultat</vt:lpstr>
      <vt:lpstr>Regnskab – Aktiver</vt:lpstr>
      <vt:lpstr>Regnskab –Passiver</vt:lpstr>
      <vt:lpstr>Omkostningsfordeling 2020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ishoej, Rune (WP P GP SMG)</dc:creator>
  <cp:lastModifiedBy>Riishoej, Rune (SGRE COG P ON EMEA TP DD)</cp:lastModifiedBy>
  <cp:revision>76</cp:revision>
  <dcterms:created xsi:type="dcterms:W3CDTF">2017-05-23T05:31:48Z</dcterms:created>
  <dcterms:modified xsi:type="dcterms:W3CDTF">2021-06-12T20:33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013f521-439d-4e48-8e98-41ab6c596aa7_Enabled">
    <vt:lpwstr>true</vt:lpwstr>
  </property>
  <property fmtid="{D5CDD505-2E9C-101B-9397-08002B2CF9AE}" pid="3" name="MSIP_Label_6013f521-439d-4e48-8e98-41ab6c596aa7_SetDate">
    <vt:lpwstr>2021-06-12T20:28:44Z</vt:lpwstr>
  </property>
  <property fmtid="{D5CDD505-2E9C-101B-9397-08002B2CF9AE}" pid="4" name="MSIP_Label_6013f521-439d-4e48-8e98-41ab6c596aa7_Method">
    <vt:lpwstr>Standard</vt:lpwstr>
  </property>
  <property fmtid="{D5CDD505-2E9C-101B-9397-08002B2CF9AE}" pid="5" name="MSIP_Label_6013f521-439d-4e48-8e98-41ab6c596aa7_Name">
    <vt:lpwstr>6013f521-439d-4e48-8e98-41ab6c596aa7</vt:lpwstr>
  </property>
  <property fmtid="{D5CDD505-2E9C-101B-9397-08002B2CF9AE}" pid="6" name="MSIP_Label_6013f521-439d-4e48-8e98-41ab6c596aa7_SiteId">
    <vt:lpwstr>12f921d8-f30d-4596-a652-7045b338485a</vt:lpwstr>
  </property>
  <property fmtid="{D5CDD505-2E9C-101B-9397-08002B2CF9AE}" pid="7" name="MSIP_Label_6013f521-439d-4e48-8e98-41ab6c596aa7_ActionId">
    <vt:lpwstr>68145e2f-a4fe-487e-b092-0ff347b2547d</vt:lpwstr>
  </property>
  <property fmtid="{D5CDD505-2E9C-101B-9397-08002B2CF9AE}" pid="8" name="MSIP_Label_6013f521-439d-4e48-8e98-41ab6c596aa7_ContentBits">
    <vt:lpwstr>0</vt:lpwstr>
  </property>
  <property fmtid="{D5CDD505-2E9C-101B-9397-08002B2CF9AE}" pid="9" name="ContentTypeId">
    <vt:lpwstr>0x0101004CCE49C1A707634DA7A6EB95FD39B195</vt:lpwstr>
  </property>
</Properties>
</file>